
<file path=[Content_Types].xml><?xml version="1.0" encoding="utf-8"?>
<Types xmlns="http://schemas.openxmlformats.org/package/2006/content-types">
  <Default Extension="jpeg" ContentType="image/jpe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332" r:id="rId2"/>
    <p:sldId id="2333" r:id="rId3"/>
    <p:sldId id="2334" r:id="rId4"/>
  </p:sldIdLst>
  <p:sldSz cx="12192000" cy="6858000"/>
  <p:notesSz cx="6858000" cy="9144000"/>
  <p:custDataLst>
    <p:tags r:id="rId5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472C4"/>
    <a:srgbClr val="C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87" autoAdjust="0"/>
    <p:restoredTop sz="94660"/>
  </p:normalViewPr>
  <p:slideViewPr>
    <p:cSldViewPr snapToGrid="0">
      <p:cViewPr varScale="1">
        <p:scale>
          <a:sx n="114" d="100"/>
          <a:sy n="114" d="100"/>
        </p:scale>
        <p:origin x="414" y="1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6"/>
            <c:invertIfNegative val="0"/>
            <c:bubble3D val="0"/>
            <c:spPr>
              <a:solidFill>
                <a:srgbClr val="4472C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3070-4B09-A3F5-349C6A83B97A}"/>
              </c:ext>
            </c:extLst>
          </c:dPt>
          <c:dPt>
            <c:idx val="7"/>
            <c:invertIfNegative val="0"/>
            <c:bubble3D val="0"/>
            <c:spPr>
              <a:solidFill>
                <a:srgbClr val="4472C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152C-45BC-B4F3-06B69B914FD7}"/>
              </c:ext>
            </c:extLst>
          </c:dPt>
          <c:dPt>
            <c:idx val="8"/>
            <c:invertIfNegative val="0"/>
            <c:bubble3D val="0"/>
            <c:spPr>
              <a:solidFill>
                <a:srgbClr val="4472C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0F3E-4B43-80F3-84A59608F1F5}"/>
              </c:ext>
            </c:extLst>
          </c:dPt>
          <c:dPt>
            <c:idx val="9"/>
            <c:invertIfNegative val="0"/>
            <c:bubble3D val="0"/>
            <c:spPr>
              <a:solidFill>
                <a:srgbClr val="C0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B85D-4210-8188-95336DAD99AB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6</c:f>
              <c:strCache>
                <c:ptCount val="15"/>
                <c:pt idx="0">
                  <c:v>Kraj Vysočina</c:v>
                </c:pt>
                <c:pt idx="1">
                  <c:v>Jihočeský kraj</c:v>
                </c:pt>
                <c:pt idx="2">
                  <c:v>Středočeský kraj</c:v>
                </c:pt>
                <c:pt idx="3">
                  <c:v>Jihomoravský kraj</c:v>
                </c:pt>
                <c:pt idx="4">
                  <c:v>Pardubický kraj</c:v>
                </c:pt>
                <c:pt idx="5">
                  <c:v>Zlínský kraj</c:v>
                </c:pt>
                <c:pt idx="6">
                  <c:v>Plzeňský kraj</c:v>
                </c:pt>
                <c:pt idx="7">
                  <c:v>Liberecký kraj</c:v>
                </c:pt>
                <c:pt idx="8">
                  <c:v>Moravskoslezský kraj</c:v>
                </c:pt>
                <c:pt idx="9">
                  <c:v>ČR</c:v>
                </c:pt>
                <c:pt idx="10">
                  <c:v>Ústecký kraj</c:v>
                </c:pt>
                <c:pt idx="11">
                  <c:v>Olomoucký kraj</c:v>
                </c:pt>
                <c:pt idx="12">
                  <c:v>Královéhradecký kraj</c:v>
                </c:pt>
                <c:pt idx="13">
                  <c:v>Karlovarský kraj</c:v>
                </c:pt>
                <c:pt idx="14">
                  <c:v>Hlavní město Praha</c:v>
                </c:pt>
              </c:strCache>
            </c:strRef>
          </c:cat>
          <c:val>
            <c:numRef>
              <c:f>Sheet1!$B$2:$B$16</c:f>
              <c:numCache>
                <c:formatCode>0.00%</c:formatCode>
                <c:ptCount val="15"/>
                <c:pt idx="0">
                  <c:v>0.55555555555500002</c:v>
                </c:pt>
                <c:pt idx="1">
                  <c:v>0.428571428571</c:v>
                </c:pt>
                <c:pt idx="2">
                  <c:v>0.39316239316200002</c:v>
                </c:pt>
                <c:pt idx="3">
                  <c:v>0.39257294429700001</c:v>
                </c:pt>
                <c:pt idx="4">
                  <c:v>0.38931297709899998</c:v>
                </c:pt>
                <c:pt idx="5">
                  <c:v>0.35227272727199999</c:v>
                </c:pt>
                <c:pt idx="6">
                  <c:v>0.33472803347199998</c:v>
                </c:pt>
                <c:pt idx="7">
                  <c:v>0.30612244897899998</c:v>
                </c:pt>
                <c:pt idx="8">
                  <c:v>0.30139720558799998</c:v>
                </c:pt>
                <c:pt idx="9">
                  <c:v>0.29834409205700002</c:v>
                </c:pt>
                <c:pt idx="10">
                  <c:v>0.29457364340999997</c:v>
                </c:pt>
                <c:pt idx="11">
                  <c:v>0.28787878787799998</c:v>
                </c:pt>
                <c:pt idx="12">
                  <c:v>0.26160337552700003</c:v>
                </c:pt>
                <c:pt idx="13">
                  <c:v>0.16867469879499999</c:v>
                </c:pt>
                <c:pt idx="14">
                  <c:v>0.155414012738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070-4B09-A3F5-349C6A83B97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289766016"/>
        <c:axId val="1491627712"/>
      </c:barChart>
      <c:catAx>
        <c:axId val="1289766016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accent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491627712"/>
        <c:crosses val="autoZero"/>
        <c:auto val="1"/>
        <c:lblAlgn val="ctr"/>
        <c:lblOffset val="100"/>
        <c:noMultiLvlLbl val="0"/>
      </c:catAx>
      <c:valAx>
        <c:axId val="1491627712"/>
        <c:scaling>
          <c:orientation val="minMax"/>
        </c:scaling>
        <c:delete val="0"/>
        <c:axPos val="t"/>
        <c:numFmt formatCode="0%" sourceLinked="0"/>
        <c:majorTickMark val="none"/>
        <c:minorTickMark val="none"/>
        <c:tickLblPos val="nextTo"/>
        <c:spPr>
          <a:noFill/>
          <a:ln>
            <a:solidFill>
              <a:schemeClr val="accent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28976601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6"/>
            <c:invertIfNegative val="0"/>
            <c:bubble3D val="0"/>
            <c:spPr>
              <a:solidFill>
                <a:srgbClr val="4472C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3070-4B09-A3F5-349C6A83B97A}"/>
              </c:ext>
            </c:extLst>
          </c:dPt>
          <c:dPt>
            <c:idx val="8"/>
            <c:invertIfNegative val="0"/>
            <c:bubble3D val="0"/>
            <c:spPr>
              <a:solidFill>
                <a:srgbClr val="4472C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C7C9-4D64-AE65-88656EB3CEB4}"/>
              </c:ext>
            </c:extLst>
          </c:dPt>
          <c:dPt>
            <c:idx val="9"/>
            <c:invertIfNegative val="0"/>
            <c:bubble3D val="0"/>
            <c:spPr>
              <a:solidFill>
                <a:srgbClr val="4472C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187C-4B26-A62C-8D83AD58094A}"/>
              </c:ext>
            </c:extLst>
          </c:dPt>
          <c:dPt>
            <c:idx val="10"/>
            <c:invertIfNegative val="0"/>
            <c:bubble3D val="0"/>
            <c:spPr>
              <a:solidFill>
                <a:srgbClr val="C0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79A8-4D33-9204-8DB8166C3CFB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6</c:f>
              <c:strCache>
                <c:ptCount val="15"/>
                <c:pt idx="0">
                  <c:v>Kraj Vysočina</c:v>
                </c:pt>
                <c:pt idx="1">
                  <c:v>Jihočeský kraj</c:v>
                </c:pt>
                <c:pt idx="2">
                  <c:v>Zlínský kraj</c:v>
                </c:pt>
                <c:pt idx="3">
                  <c:v>Ústecký kraj</c:v>
                </c:pt>
                <c:pt idx="4">
                  <c:v>Jihomoravský kraj</c:v>
                </c:pt>
                <c:pt idx="5">
                  <c:v>Pardubický kraj</c:v>
                </c:pt>
                <c:pt idx="6">
                  <c:v>Olomoucký kraj</c:v>
                </c:pt>
                <c:pt idx="7">
                  <c:v>Plzeňský kraj</c:v>
                </c:pt>
                <c:pt idx="8">
                  <c:v>Středočeský kraj</c:v>
                </c:pt>
                <c:pt idx="9">
                  <c:v>Liberecký kraj</c:v>
                </c:pt>
                <c:pt idx="10">
                  <c:v>ČR</c:v>
                </c:pt>
                <c:pt idx="11">
                  <c:v>Moravskoslezský kraj</c:v>
                </c:pt>
                <c:pt idx="12">
                  <c:v>Královéhradecký kraj</c:v>
                </c:pt>
                <c:pt idx="13">
                  <c:v>Karlovarský kraj</c:v>
                </c:pt>
                <c:pt idx="14">
                  <c:v>Hlavní město Praha</c:v>
                </c:pt>
              </c:strCache>
            </c:strRef>
          </c:cat>
          <c:val>
            <c:numRef>
              <c:f>Sheet1!$B$2:$B$16</c:f>
              <c:numCache>
                <c:formatCode>0.00%</c:formatCode>
                <c:ptCount val="15"/>
                <c:pt idx="0">
                  <c:v>0.5</c:v>
                </c:pt>
                <c:pt idx="1">
                  <c:v>0.375</c:v>
                </c:pt>
                <c:pt idx="2">
                  <c:v>0.33695652173899998</c:v>
                </c:pt>
                <c:pt idx="3">
                  <c:v>0.29411764705799998</c:v>
                </c:pt>
                <c:pt idx="4">
                  <c:v>0.28846153846099998</c:v>
                </c:pt>
                <c:pt idx="5">
                  <c:v>0.258064516129</c:v>
                </c:pt>
                <c:pt idx="6">
                  <c:v>0.232876712328</c:v>
                </c:pt>
                <c:pt idx="7">
                  <c:v>0.22857142857099999</c:v>
                </c:pt>
                <c:pt idx="8">
                  <c:v>0.226086956521</c:v>
                </c:pt>
                <c:pt idx="9">
                  <c:v>0.217948717948</c:v>
                </c:pt>
                <c:pt idx="10">
                  <c:v>0.212358999509</c:v>
                </c:pt>
                <c:pt idx="11">
                  <c:v>0.19093851132600001</c:v>
                </c:pt>
                <c:pt idx="12">
                  <c:v>0.1796875</c:v>
                </c:pt>
                <c:pt idx="13">
                  <c:v>0.13953488372</c:v>
                </c:pt>
                <c:pt idx="14">
                  <c:v>8.2452431288999997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070-4B09-A3F5-349C6A83B97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289766016"/>
        <c:axId val="1491627712"/>
      </c:barChart>
      <c:catAx>
        <c:axId val="1289766016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accent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491627712"/>
        <c:crosses val="autoZero"/>
        <c:auto val="1"/>
        <c:lblAlgn val="ctr"/>
        <c:lblOffset val="100"/>
        <c:noMultiLvlLbl val="0"/>
      </c:catAx>
      <c:valAx>
        <c:axId val="1491627712"/>
        <c:scaling>
          <c:orientation val="minMax"/>
        </c:scaling>
        <c:delete val="0"/>
        <c:axPos val="t"/>
        <c:numFmt formatCode="0%" sourceLinked="0"/>
        <c:majorTickMark val="none"/>
        <c:minorTickMark val="none"/>
        <c:tickLblPos val="nextTo"/>
        <c:spPr>
          <a:noFill/>
          <a:ln>
            <a:solidFill>
              <a:schemeClr val="accent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28976601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6"/>
            <c:invertIfNegative val="0"/>
            <c:bubble3D val="0"/>
            <c:spPr>
              <a:solidFill>
                <a:srgbClr val="4472C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3070-4B09-A3F5-349C6A83B97A}"/>
              </c:ext>
            </c:extLst>
          </c:dPt>
          <c:dPt>
            <c:idx val="8"/>
            <c:invertIfNegative val="0"/>
            <c:bubble3D val="0"/>
            <c:spPr>
              <a:solidFill>
                <a:srgbClr val="C0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5B73-42C7-B0A5-249A45A05BDF}"/>
              </c:ext>
            </c:extLst>
          </c:dPt>
          <c:dPt>
            <c:idx val="9"/>
            <c:invertIfNegative val="0"/>
            <c:bubble3D val="0"/>
            <c:spPr>
              <a:solidFill>
                <a:srgbClr val="4472C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6E36-41C8-8484-20FFE9915F03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6</c:f>
              <c:strCache>
                <c:ptCount val="15"/>
                <c:pt idx="0">
                  <c:v>Kraj Vysočina</c:v>
                </c:pt>
                <c:pt idx="1">
                  <c:v>Ústecký kraj</c:v>
                </c:pt>
                <c:pt idx="2">
                  <c:v>Pardubický kraj</c:v>
                </c:pt>
                <c:pt idx="3">
                  <c:v>Jihočeský kraj</c:v>
                </c:pt>
                <c:pt idx="4">
                  <c:v>Jihomoravský kraj</c:v>
                </c:pt>
                <c:pt idx="5">
                  <c:v>Olomoucký kraj</c:v>
                </c:pt>
                <c:pt idx="6">
                  <c:v>Plzeňský kraj</c:v>
                </c:pt>
                <c:pt idx="7">
                  <c:v>Zlínský kraj</c:v>
                </c:pt>
                <c:pt idx="8">
                  <c:v>ČR</c:v>
                </c:pt>
                <c:pt idx="9">
                  <c:v>Liberecký kraj</c:v>
                </c:pt>
                <c:pt idx="10">
                  <c:v>Moravskoslezský kraj</c:v>
                </c:pt>
                <c:pt idx="11">
                  <c:v>Středočeský kraj</c:v>
                </c:pt>
                <c:pt idx="12">
                  <c:v>Hlavní město Praha</c:v>
                </c:pt>
                <c:pt idx="13">
                  <c:v>Královéhradecký kraj</c:v>
                </c:pt>
                <c:pt idx="14">
                  <c:v>Karlovarský kraj</c:v>
                </c:pt>
              </c:strCache>
            </c:strRef>
          </c:cat>
          <c:val>
            <c:numRef>
              <c:f>Sheet1!$B$2:$B$16</c:f>
              <c:numCache>
                <c:formatCode>0.00%</c:formatCode>
                <c:ptCount val="15"/>
                <c:pt idx="0">
                  <c:v>0.38805970149199998</c:v>
                </c:pt>
                <c:pt idx="1">
                  <c:v>0.35388739946300002</c:v>
                </c:pt>
                <c:pt idx="2">
                  <c:v>0.343082114735</c:v>
                </c:pt>
                <c:pt idx="3">
                  <c:v>0.33720930232500002</c:v>
                </c:pt>
                <c:pt idx="4">
                  <c:v>0.31666666666600002</c:v>
                </c:pt>
                <c:pt idx="5">
                  <c:v>0.29777177582699998</c:v>
                </c:pt>
                <c:pt idx="6">
                  <c:v>0.280905752753</c:v>
                </c:pt>
                <c:pt idx="7">
                  <c:v>0.27205882352900002</c:v>
                </c:pt>
                <c:pt idx="8">
                  <c:v>0.26362362011500001</c:v>
                </c:pt>
                <c:pt idx="9">
                  <c:v>0.22475961538399999</c:v>
                </c:pt>
                <c:pt idx="10">
                  <c:v>0.212464589235</c:v>
                </c:pt>
                <c:pt idx="11">
                  <c:v>0.19088937093200001</c:v>
                </c:pt>
                <c:pt idx="12">
                  <c:v>0.18413507486399999</c:v>
                </c:pt>
                <c:pt idx="13">
                  <c:v>0.15069495245</c:v>
                </c:pt>
                <c:pt idx="14">
                  <c:v>0.141148325358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070-4B09-A3F5-349C6A83B97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289766016"/>
        <c:axId val="1491627712"/>
      </c:barChart>
      <c:catAx>
        <c:axId val="1289766016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accent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491627712"/>
        <c:crosses val="autoZero"/>
        <c:auto val="1"/>
        <c:lblAlgn val="ctr"/>
        <c:lblOffset val="100"/>
        <c:noMultiLvlLbl val="0"/>
      </c:catAx>
      <c:valAx>
        <c:axId val="1491627712"/>
        <c:scaling>
          <c:orientation val="minMax"/>
        </c:scaling>
        <c:delete val="0"/>
        <c:axPos val="t"/>
        <c:numFmt formatCode="0%" sourceLinked="0"/>
        <c:majorTickMark val="none"/>
        <c:minorTickMark val="none"/>
        <c:tickLblPos val="nextTo"/>
        <c:spPr>
          <a:noFill/>
          <a:ln>
            <a:solidFill>
              <a:schemeClr val="accent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28976601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8837149-65B5-40C0-A148-5C0780A20B5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F4BE70A-7F29-4223-A3CA-61E551FDDC9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cs-CZ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1652B65-704D-45EB-9963-4141CB90532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DA3A0F-9B2E-4AAE-BF10-3AD84EB845DD}" type="datetimeFigureOut">
              <a:rPr lang="cs-CZ" smtClean="0"/>
              <a:t>21.11.2021</a:t>
            </a:fld>
            <a:endParaRPr lang="cs-CZ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C2A396D-ED3C-40A7-A84A-FA6B1A083A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32B84A6-BF36-4830-9DEB-D538717EC5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98F3B7-169A-4902-9743-55F496AD09B8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0341049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783E19C-275D-4815-B111-B9E627F646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F5D1869-CF2C-4605-A2D0-B2FF1A0F3BF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9EE69E2-43F9-4A68-9572-EE80CBA787F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DA3A0F-9B2E-4AAE-BF10-3AD84EB845DD}" type="datetimeFigureOut">
              <a:rPr lang="cs-CZ" smtClean="0"/>
              <a:t>21.11.2021</a:t>
            </a:fld>
            <a:endParaRPr lang="cs-CZ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8AF432D-DBB6-4517-89F4-5AE668AB7B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A92ABC-732F-4E6E-8072-74D75700D7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98F3B7-169A-4902-9743-55F496AD09B8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90407544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525BEF72-EF5B-47ED-B1AF-0C552ABB05F8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C9AFF00-5600-43A1-96D3-EFB6CE5BB21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DECF071-93D5-4021-AB20-65709FAA150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DA3A0F-9B2E-4AAE-BF10-3AD84EB845DD}" type="datetimeFigureOut">
              <a:rPr lang="cs-CZ" smtClean="0"/>
              <a:t>21.11.2021</a:t>
            </a:fld>
            <a:endParaRPr lang="cs-CZ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367CEB7-1EA9-4F8B-88BD-B5DF11E7D1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A5EC400-B874-46D9-8A2B-A5C4331957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98F3B7-169A-4902-9743-55F496AD09B8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73609984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80234934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A40312C-16C5-4EC5-BFB5-CC5C632C0B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729715A-0CFC-4C2E-9068-7DF48BB7AE8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BF4618D-F07C-4AA8-B8B3-F2AB8B22C4B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DA3A0F-9B2E-4AAE-BF10-3AD84EB845DD}" type="datetimeFigureOut">
              <a:rPr lang="cs-CZ" smtClean="0"/>
              <a:t>21.11.2021</a:t>
            </a:fld>
            <a:endParaRPr lang="cs-CZ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9A87515-7F99-4E50-8332-483C5E8B4B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AD35ACF-FB41-49E3-92DE-4820036A1D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98F3B7-169A-4902-9743-55F496AD09B8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9203405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B262F51-B53B-457A-A6AF-28D267CF30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8FE44A6-E02C-4130-9FDD-3C159AA6254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7BAF497-906E-4C9E-89F1-966198E1FEC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DA3A0F-9B2E-4AAE-BF10-3AD84EB845DD}" type="datetimeFigureOut">
              <a:rPr lang="cs-CZ" smtClean="0"/>
              <a:t>21.11.2021</a:t>
            </a:fld>
            <a:endParaRPr lang="cs-CZ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EF1F17D-B3E7-445C-8A01-FD1EF60A0A5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3DFA466-2841-42D8-BCE2-B1B5CDEDDA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98F3B7-169A-4902-9743-55F496AD09B8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47705477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988A46-C80B-4BB2-A239-0C10C84546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D87DB0E-EFEB-4E51-A2C8-81905B8A6F1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0E6D96F-ABEB-4929-A377-663E4B12227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1F07FB-D56E-4E33-A81C-905BD0C4C84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DA3A0F-9B2E-4AAE-BF10-3AD84EB845DD}" type="datetimeFigureOut">
              <a:rPr lang="cs-CZ" smtClean="0"/>
              <a:t>21.11.2021</a:t>
            </a:fld>
            <a:endParaRPr lang="cs-CZ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D83F511-1976-4B8E-98FC-0395B51EC5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8DFDC02-60AB-4F63-9D6E-DB9D0B5123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98F3B7-169A-4902-9743-55F496AD09B8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73266702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528EAFA-0B56-4B9F-9CCC-4C485BCFE0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EBE7AC3-0A1D-431D-A6D2-6746C564A5E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78A6C4D-35C7-4157-9F39-8B684B0EA45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5C5FE6C-9A5C-4C77-AB2B-9D56959A619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A0EE7EE-79CB-4CD9-A2A6-4E1745ECA8FF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94F10D9-D330-4D79-838E-8A2FB338CBE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DA3A0F-9B2E-4AAE-BF10-3AD84EB845DD}" type="datetimeFigureOut">
              <a:rPr lang="cs-CZ" smtClean="0"/>
              <a:t>21.11.2021</a:t>
            </a:fld>
            <a:endParaRPr lang="cs-CZ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D5BC18B-9753-47A0-A6DE-E4F8F59830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0C104369-AB2C-4D6F-BB1F-DCBF27C19B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98F3B7-169A-4902-9743-55F496AD09B8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94416085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362A295-0C6A-400D-AC20-90ED7D6D3C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D9328C9-4230-49B1-96AE-6828B2D034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DA3A0F-9B2E-4AAE-BF10-3AD84EB845DD}" type="datetimeFigureOut">
              <a:rPr lang="cs-CZ" smtClean="0"/>
              <a:t>21.11.2021</a:t>
            </a:fld>
            <a:endParaRPr lang="cs-CZ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CB4D6FA-768F-46ED-8EE5-68EEDA8A75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CF19649-51CA-447C-92C7-139673C3D6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98F3B7-169A-4902-9743-55F496AD09B8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85039210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72D5272-8A1F-47C9-9F72-D750D6193E8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DA3A0F-9B2E-4AAE-BF10-3AD84EB845DD}" type="datetimeFigureOut">
              <a:rPr lang="cs-CZ" smtClean="0"/>
              <a:t>21.11.2021</a:t>
            </a:fld>
            <a:endParaRPr lang="cs-CZ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0C24208-EDF0-4AC7-918C-14DBF5269F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FFBB15F-958A-489F-8D5E-AE51FF0EB7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98F3B7-169A-4902-9743-55F496AD09B8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10346824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3FF7104-5F5A-48BF-8F1C-2512FC482B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BD9FF1B-98C2-4B86-BE1B-CFEB2105E42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E1FFF5D-6844-436F-9EB9-03D03EBA200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C631352-6286-4234-9179-CEE9E16BA74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DA3A0F-9B2E-4AAE-BF10-3AD84EB845DD}" type="datetimeFigureOut">
              <a:rPr lang="cs-CZ" smtClean="0"/>
              <a:t>21.11.2021</a:t>
            </a:fld>
            <a:endParaRPr lang="cs-CZ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D74CF46-A376-42E1-B58C-3FEB8407D3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2730FE8-8F9C-472D-9441-975DA03844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98F3B7-169A-4902-9743-55F496AD09B8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49636757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CC9CEBF-587F-4FCA-B912-52AA74777D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85089BE9-E83A-4915-8B58-49579A23EDA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cs-CZ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C490D4A-B1EB-4E0F-B046-C7944091109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043ADA9-083B-49AA-8D2C-520EE4F55C4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DA3A0F-9B2E-4AAE-BF10-3AD84EB845DD}" type="datetimeFigureOut">
              <a:rPr lang="cs-CZ" smtClean="0"/>
              <a:t>21.11.2021</a:t>
            </a:fld>
            <a:endParaRPr lang="cs-CZ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A4DF203-BE4D-4FBA-9511-DD6B7EB3567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BA07A47-AF88-4D6C-B7A4-47B4424D7C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98F3B7-169A-4902-9743-55F496AD09B8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06505625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D364EC2-A2EC-4DE5-85B7-53077A78BE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DA035FA-16EA-48E9-A4CF-24D03D0A857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3058C2A-3294-4D93-B6D3-CD4C09A39BB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DA3A0F-9B2E-4AAE-BF10-3AD84EB845DD}" type="datetimeFigureOut">
              <a:rPr lang="cs-CZ" smtClean="0"/>
              <a:t>21.11.2021</a:t>
            </a:fld>
            <a:endParaRPr lang="cs-CZ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0B6E0E2-ED72-462D-A571-FDF80829AF7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8AE22D9-ED75-49B2-874D-6B9FC81E110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F98F3B7-169A-4902-9743-55F496AD09B8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0849666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5" Type="http://schemas.openxmlformats.org/officeDocument/2006/relationships/chart" Target="../charts/chart1.xml"/><Relationship Id="rId4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5" Type="http://schemas.openxmlformats.org/officeDocument/2006/relationships/chart" Target="../charts/chart2.xml"/><Relationship Id="rId4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5" Type="http://schemas.openxmlformats.org/officeDocument/2006/relationships/chart" Target="../charts/chart3.xml"/><Relationship Id="rId4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9" y="2"/>
            <a:ext cx="10565894" cy="576000"/>
          </a:xfrm>
        </p:spPr>
        <p:txBody>
          <a:bodyPr/>
          <a:lstStyle/>
          <a:p>
            <a:r>
              <a:rPr lang="en-US" dirty="0" err="1"/>
              <a:t>Podíl</a:t>
            </a:r>
            <a:r>
              <a:rPr lang="en-US" dirty="0"/>
              <a:t> (%) </a:t>
            </a:r>
            <a:r>
              <a:rPr lang="en-US" dirty="0" err="1"/>
              <a:t>volné</a:t>
            </a:r>
            <a:r>
              <a:rPr lang="en-US" dirty="0"/>
              <a:t> </a:t>
            </a:r>
            <a:r>
              <a:rPr lang="en-US" dirty="0" err="1"/>
              <a:t>aktuálně</a:t>
            </a:r>
            <a:r>
              <a:rPr lang="en-US" dirty="0"/>
              <a:t> </a:t>
            </a:r>
            <a:r>
              <a:rPr lang="en-US" dirty="0" err="1"/>
              <a:t>nahlášené</a:t>
            </a:r>
            <a:r>
              <a:rPr lang="en-US" dirty="0"/>
              <a:t> </a:t>
            </a:r>
            <a:r>
              <a:rPr lang="en-US" dirty="0" err="1"/>
              <a:t>kapacity</a:t>
            </a:r>
            <a:r>
              <a:rPr lang="en-US" dirty="0"/>
              <a:t> JIP</a:t>
            </a:r>
            <a:endParaRPr lang="cs-CZ" dirty="0"/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EFD8EDC8-39AC-4878-B921-4F6635FE7621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19717251"/>
              </p:ext>
            </p:extLst>
          </p:nvPr>
        </p:nvGraphicFramePr>
        <p:xfrm>
          <a:off x="679061" y="1186197"/>
          <a:ext cx="8128000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C6038F74-6802-471B-A77B-176FE0683DE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3040815" y="816865"/>
            <a:ext cx="469211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Podíl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(%) </a:t>
            </a:r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volné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aktuálně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nahlášené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kapacity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JIP</a:t>
            </a:r>
            <a:endParaRPr lang="cs-CZ" dirty="0"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6817885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9" y="2"/>
            <a:ext cx="10565894" cy="576000"/>
          </a:xfrm>
        </p:spPr>
        <p:txBody>
          <a:bodyPr/>
          <a:lstStyle/>
          <a:p>
            <a:r>
              <a:rPr lang="en-US" dirty="0" err="1"/>
              <a:t>Podíl</a:t>
            </a:r>
            <a:r>
              <a:rPr lang="en-US" dirty="0"/>
              <a:t> (%) </a:t>
            </a:r>
            <a:r>
              <a:rPr lang="en-US" dirty="0" err="1"/>
              <a:t>volné</a:t>
            </a:r>
            <a:r>
              <a:rPr lang="en-US" dirty="0"/>
              <a:t> </a:t>
            </a:r>
            <a:r>
              <a:rPr lang="en-US" dirty="0" err="1"/>
              <a:t>aktuálně</a:t>
            </a:r>
            <a:r>
              <a:rPr lang="en-US" dirty="0"/>
              <a:t> </a:t>
            </a:r>
            <a:r>
              <a:rPr lang="en-US" dirty="0" err="1"/>
              <a:t>nahlášené</a:t>
            </a:r>
            <a:r>
              <a:rPr lang="en-US" dirty="0"/>
              <a:t> </a:t>
            </a:r>
            <a:r>
              <a:rPr lang="en-US" dirty="0" err="1"/>
              <a:t>kapacity</a:t>
            </a:r>
            <a:r>
              <a:rPr lang="en-US" dirty="0"/>
              <a:t> </a:t>
            </a:r>
            <a:r>
              <a:rPr lang="cs-CZ" dirty="0"/>
              <a:t>UPV</a:t>
            </a:r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EFD8EDC8-39AC-4878-B921-4F6635FE7621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67568774"/>
              </p:ext>
            </p:extLst>
          </p:nvPr>
        </p:nvGraphicFramePr>
        <p:xfrm>
          <a:off x="679061" y="1186197"/>
          <a:ext cx="8128000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C6038F74-6802-471B-A77B-176FE0683DE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3040815" y="816865"/>
            <a:ext cx="472372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Podíl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(%) </a:t>
            </a:r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volné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aktuálně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nahlášené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kapacity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lang="cs-CZ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UPV</a:t>
            </a:r>
            <a:endParaRPr lang="cs-CZ" dirty="0"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1577465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9" y="2"/>
            <a:ext cx="10565894" cy="576000"/>
          </a:xfrm>
        </p:spPr>
        <p:txBody>
          <a:bodyPr/>
          <a:lstStyle/>
          <a:p>
            <a:r>
              <a:rPr lang="en-US" dirty="0" err="1"/>
              <a:t>Podíl</a:t>
            </a:r>
            <a:r>
              <a:rPr lang="en-US" dirty="0"/>
              <a:t> (%) </a:t>
            </a:r>
            <a:r>
              <a:rPr lang="en-US" dirty="0" err="1"/>
              <a:t>volné</a:t>
            </a:r>
            <a:r>
              <a:rPr lang="en-US" dirty="0"/>
              <a:t> </a:t>
            </a:r>
            <a:r>
              <a:rPr lang="en-US" dirty="0" err="1"/>
              <a:t>aktuálně</a:t>
            </a:r>
            <a:r>
              <a:rPr lang="en-US" dirty="0"/>
              <a:t> </a:t>
            </a:r>
            <a:r>
              <a:rPr lang="en-US" dirty="0" err="1"/>
              <a:t>nahlášené</a:t>
            </a:r>
            <a:r>
              <a:rPr lang="en-US" dirty="0"/>
              <a:t> </a:t>
            </a:r>
            <a:r>
              <a:rPr lang="en-US" dirty="0" err="1"/>
              <a:t>kapacity</a:t>
            </a:r>
            <a:r>
              <a:rPr lang="en-US" dirty="0"/>
              <a:t> </a:t>
            </a:r>
            <a:r>
              <a:rPr lang="cs-CZ" dirty="0"/>
              <a:t>standartních lůžek s kyslíkem</a:t>
            </a:r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EFD8EDC8-39AC-4878-B921-4F6635FE7621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5166737"/>
              </p:ext>
            </p:extLst>
          </p:nvPr>
        </p:nvGraphicFramePr>
        <p:xfrm>
          <a:off x="679061" y="1186197"/>
          <a:ext cx="8128000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C6038F74-6802-471B-A77B-176FE0683DE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3040815" y="816865"/>
            <a:ext cx="580864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Podíl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(%) </a:t>
            </a:r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volné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aktuálně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nahlášené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kapacity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lang="cs-CZ" dirty="0"/>
              <a:t>lůžek s kyslíkem</a:t>
            </a:r>
            <a:endParaRPr lang="cs-CZ" dirty="0"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992730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CUSTOMSORTGLOBALLY" val="Tru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83</TotalTime>
  <Words>47</Words>
  <Application>Microsoft Office PowerPoint</Application>
  <PresentationFormat>Širokoúhlá obrazovka</PresentationFormat>
  <Paragraphs>6</Paragraphs>
  <Slides>3</Slides>
  <Notes>0</Notes>
  <HiddenSlides>0</HiddenSlides>
  <MMClips>0</MMClips>
  <ScaleCrop>false</ScaleCrop>
  <HeadingPairs>
    <vt:vector size="6" baseType="variant">
      <vt:variant>
        <vt:lpstr>Použitá písma</vt:lpstr>
      </vt:variant>
      <vt:variant>
        <vt:i4>3</vt:i4>
      </vt:variant>
      <vt:variant>
        <vt:lpstr>Motiv</vt:lpstr>
      </vt:variant>
      <vt:variant>
        <vt:i4>1</vt:i4>
      </vt:variant>
      <vt:variant>
        <vt:lpstr>Nadpisy snímků</vt:lpstr>
      </vt:variant>
      <vt:variant>
        <vt:i4>3</vt:i4>
      </vt:variant>
    </vt:vector>
  </HeadingPairs>
  <TitlesOfParts>
    <vt:vector size="7" baseType="lpstr">
      <vt:lpstr>Arial</vt:lpstr>
      <vt:lpstr>Calibri</vt:lpstr>
      <vt:lpstr>Calibri Light</vt:lpstr>
      <vt:lpstr>Office Theme</vt:lpstr>
      <vt:lpstr>Podíl (%) volné aktuálně nahlášené kapacity JIP</vt:lpstr>
      <vt:lpstr>Podíl (%) volné aktuálně nahlášené kapacity UPV</vt:lpstr>
      <vt:lpstr>Podíl (%) volné aktuálně nahlášené kapacity standartních lůžek s kyslíkem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arkovský Jiří RNDr. Ph.D.</dc:creator>
  <cp:lastModifiedBy>Pohlová Radka Mgr.</cp:lastModifiedBy>
  <cp:revision>21</cp:revision>
  <dcterms:created xsi:type="dcterms:W3CDTF">2021-10-29T17:14:18Z</dcterms:created>
  <dcterms:modified xsi:type="dcterms:W3CDTF">2021-11-21T18:34:25Z</dcterms:modified>
</cp:coreProperties>
</file>